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549930" y="1067489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5372133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7511136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9650137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97055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5</TotalTime>
  <Words>46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91</cp:revision>
  <dcterms:created xsi:type="dcterms:W3CDTF">2021-03-31T02:49:57Z</dcterms:created>
  <dcterms:modified xsi:type="dcterms:W3CDTF">2025-10-15T02:45:08Z</dcterms:modified>
  <cp:category/>
</cp:coreProperties>
</file>